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notesSlides/notesSlide34.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notesSlides/notesSlide39.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notesSlides/notesSlide40.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notesSlides/notesSlide41.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notesSlides/notesSlide42.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BD3FA6C9-D694-4D0F-BAF3-14945E8FFDE7}">
          <p14:sldIdLst>
            <p14:sldId id="2147477365"/>
            <p14:sldId id="2147477366"/>
            <p14:sldId id="2147477367"/>
          </p14:sldIdLst>
        </p14:section>
        <p14:section name="Sector Shelf Price/Vol Comparison" id="{60C5F3FA-95BB-43B0-B184-2090A91E8D97}">
          <p14:sldIdLst>
            <p14:sldId id="2147477368"/>
            <p14:sldId id="2147477369"/>
            <p14:sldId id="2147477370"/>
          </p14:sldIdLst>
        </p14:section>
        <p14:section name="Segment Avg Price/Vol Comparison" id="{07CC8820-BAFE-4759-8234-613D66B8B56E}">
          <p14:sldIdLst>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Lst>
        </p14:section>
        <p14:section name="Segment Shelf Price/Vol Comparison" id="{41011051-2EFB-4DCA-8A52-B31BF559962E}">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67" y="379"/>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832661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64550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010917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428447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282140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710705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285125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976275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203696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68816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748718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157202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707926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560286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271450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39908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736531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065659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258827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760870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206479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9139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059283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369372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884608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85885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379720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976700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362131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367249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332906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862795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885985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409235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557505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302501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982531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69653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146277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066941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596208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584731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4158</Words>
  <Application>Microsoft Office PowerPoint</Application>
  <PresentationFormat>On-screen Show (16:9)</PresentationFormat>
  <Paragraphs>882</Paragraphs>
  <Slides>42</Slides>
  <Notes>4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11T08:2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